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A6A0D5-7FAE-4E31-8DE2-E91ED835056D}" v="98" dt="2024-09-06T12:50:02.8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stafa, Insha SBOBNG-PTIY/TLA" userId="15cd3cd4-95eb-4c80-a3da-17e5453f6f9d" providerId="ADAL" clId="{C8A6A0D5-7FAE-4E31-8DE2-E91ED835056D}"/>
    <pc:docChg chg="undo redo custSel modSld">
      <pc:chgData name="Mustafa, Insha SBOBNG-PTIY/TLA" userId="15cd3cd4-95eb-4c80-a3da-17e5453f6f9d" providerId="ADAL" clId="{C8A6A0D5-7FAE-4E31-8DE2-E91ED835056D}" dt="2024-09-06T12:50:02.836" v="2259" actId="1037"/>
      <pc:docMkLst>
        <pc:docMk/>
      </pc:docMkLst>
      <pc:sldChg chg="addSp modSp mod">
        <pc:chgData name="Mustafa, Insha SBOBNG-PTIY/TLA" userId="15cd3cd4-95eb-4c80-a3da-17e5453f6f9d" providerId="ADAL" clId="{C8A6A0D5-7FAE-4E31-8DE2-E91ED835056D}" dt="2024-09-06T12:50:02.836" v="2259" actId="1037"/>
        <pc:sldMkLst>
          <pc:docMk/>
          <pc:sldMk cId="3267775274" sldId="256"/>
        </pc:sldMkLst>
        <pc:spChg chg="mod">
          <ac:chgData name="Mustafa, Insha SBOBNG-PTIY/TLA" userId="15cd3cd4-95eb-4c80-a3da-17e5453f6f9d" providerId="ADAL" clId="{C8A6A0D5-7FAE-4E31-8DE2-E91ED835056D}" dt="2024-09-06T09:51:02.551" v="2" actId="20577"/>
          <ac:spMkLst>
            <pc:docMk/>
            <pc:sldMk cId="3267775274" sldId="256"/>
            <ac:spMk id="6" creationId="{0C37A4A8-A3C7-407F-B123-88E2E165C827}"/>
          </ac:spMkLst>
        </pc:spChg>
        <pc:spChg chg="mod">
          <ac:chgData name="Mustafa, Insha SBOBNG-PTIY/TLA" userId="15cd3cd4-95eb-4c80-a3da-17e5453f6f9d" providerId="ADAL" clId="{C8A6A0D5-7FAE-4E31-8DE2-E91ED835056D}" dt="2024-09-06T09:51:19.019" v="13" actId="20577"/>
          <ac:spMkLst>
            <pc:docMk/>
            <pc:sldMk cId="3267775274" sldId="256"/>
            <ac:spMk id="13" creationId="{C48F8DD6-A1B3-8126-FAC3-218B712C7FFB}"/>
          </ac:spMkLst>
        </pc:spChg>
        <pc:picChg chg="add mod">
          <ac:chgData name="Mustafa, Insha SBOBNG-PTIY/TLA" userId="15cd3cd4-95eb-4c80-a3da-17e5453f6f9d" providerId="ADAL" clId="{C8A6A0D5-7FAE-4E31-8DE2-E91ED835056D}" dt="2024-09-06T12:50:02.836" v="2259" actId="1037"/>
          <ac:picMkLst>
            <pc:docMk/>
            <pc:sldMk cId="3267775274" sldId="256"/>
            <ac:picMk id="2050" creationId="{41283F7F-4018-70B4-72E7-536105234CAB}"/>
          </ac:picMkLst>
        </pc:picChg>
      </pc:sldChg>
      <pc:sldChg chg="addSp delSp modSp mod">
        <pc:chgData name="Mustafa, Insha SBOBNG-PTIY/TLA" userId="15cd3cd4-95eb-4c80-a3da-17e5453f6f9d" providerId="ADAL" clId="{C8A6A0D5-7FAE-4E31-8DE2-E91ED835056D}" dt="2024-09-06T11:02:24.758" v="81" actId="20577"/>
        <pc:sldMkLst>
          <pc:docMk/>
          <pc:sldMk cId="867832184" sldId="2147375589"/>
        </pc:sldMkLst>
        <pc:spChg chg="add del mod">
          <ac:chgData name="Mustafa, Insha SBOBNG-PTIY/TLA" userId="15cd3cd4-95eb-4c80-a3da-17e5453f6f9d" providerId="ADAL" clId="{C8A6A0D5-7FAE-4E31-8DE2-E91ED835056D}" dt="2024-09-06T09:53:50.163" v="17" actId="478"/>
          <ac:spMkLst>
            <pc:docMk/>
            <pc:sldMk cId="867832184" sldId="2147375589"/>
            <ac:spMk id="2" creationId="{D19BDD3D-16DA-DD37-4311-BECAC9CDD65D}"/>
          </ac:spMkLst>
        </pc:spChg>
        <pc:spChg chg="add">
          <ac:chgData name="Mustafa, Insha SBOBNG-PTIY/TLA" userId="15cd3cd4-95eb-4c80-a3da-17e5453f6f9d" providerId="ADAL" clId="{C8A6A0D5-7FAE-4E31-8DE2-E91ED835056D}" dt="2024-09-06T09:54:05.786" v="18"/>
          <ac:spMkLst>
            <pc:docMk/>
            <pc:sldMk cId="867832184" sldId="2147375589"/>
            <ac:spMk id="6" creationId="{5B424ED1-95CD-4424-9CCA-F3B34F412D25}"/>
          </ac:spMkLst>
        </pc:spChg>
        <pc:spChg chg="mod">
          <ac:chgData name="Mustafa, Insha SBOBNG-PTIY/TLA" userId="15cd3cd4-95eb-4c80-a3da-17e5453f6f9d" providerId="ADAL" clId="{C8A6A0D5-7FAE-4E31-8DE2-E91ED835056D}" dt="2024-09-06T11:02:24.758" v="81" actId="20577"/>
          <ac:spMkLst>
            <pc:docMk/>
            <pc:sldMk cId="867832184" sldId="2147375589"/>
            <ac:spMk id="10" creationId="{1119CB9E-042F-11E8-F683-654626D307B3}"/>
          </ac:spMkLst>
        </pc:spChg>
        <pc:spChg chg="mod">
          <ac:chgData name="Mustafa, Insha SBOBNG-PTIY/TLA" userId="15cd3cd4-95eb-4c80-a3da-17e5453f6f9d" providerId="ADAL" clId="{C8A6A0D5-7FAE-4E31-8DE2-E91ED835056D}" dt="2024-09-06T09:53:42.929" v="14" actId="20577"/>
          <ac:spMkLst>
            <pc:docMk/>
            <pc:sldMk cId="867832184" sldId="2147375589"/>
            <ac:spMk id="11" creationId="{CE0DDF5F-FE47-F9A2-FE84-53B63DFF494D}"/>
          </ac:spMkLst>
        </pc:spChg>
        <pc:picChg chg="add mod">
          <ac:chgData name="Mustafa, Insha SBOBNG-PTIY/TLA" userId="15cd3cd4-95eb-4c80-a3da-17e5453f6f9d" providerId="ADAL" clId="{C8A6A0D5-7FAE-4E31-8DE2-E91ED835056D}" dt="2024-09-06T09:54:18.867" v="23" actId="1076"/>
          <ac:picMkLst>
            <pc:docMk/>
            <pc:sldMk cId="867832184" sldId="2147375589"/>
            <ac:picMk id="7" creationId="{0574F468-634E-F732-AA04-2FA801A9637C}"/>
          </ac:picMkLst>
        </pc:picChg>
      </pc:sldChg>
      <pc:sldChg chg="addSp modSp mod">
        <pc:chgData name="Mustafa, Insha SBOBNG-PTIY/TLA" userId="15cd3cd4-95eb-4c80-a3da-17e5453f6f9d" providerId="ADAL" clId="{C8A6A0D5-7FAE-4E31-8DE2-E91ED835056D}" dt="2024-09-06T12:38:58.633" v="2190" actId="20577"/>
        <pc:sldMkLst>
          <pc:docMk/>
          <pc:sldMk cId="245881457" sldId="2147375597"/>
        </pc:sldMkLst>
        <pc:spChg chg="mod">
          <ac:chgData name="Mustafa, Insha SBOBNG-PTIY/TLA" userId="15cd3cd4-95eb-4c80-a3da-17e5453f6f9d" providerId="ADAL" clId="{C8A6A0D5-7FAE-4E31-8DE2-E91ED835056D}" dt="2024-09-06T11:08:24.656" v="173" actId="20577"/>
          <ac:spMkLst>
            <pc:docMk/>
            <pc:sldMk cId="245881457" sldId="2147375597"/>
            <ac:spMk id="11" creationId="{DE9F1BE0-7910-FA1B-DCE8-56EFD1E4FC09}"/>
          </ac:spMkLst>
        </pc:spChg>
        <pc:spChg chg="mod">
          <ac:chgData name="Mustafa, Insha SBOBNG-PTIY/TLA" userId="15cd3cd4-95eb-4c80-a3da-17e5453f6f9d" providerId="ADAL" clId="{C8A6A0D5-7FAE-4E31-8DE2-E91ED835056D}" dt="2024-09-06T12:38:58.633" v="2190" actId="20577"/>
          <ac:spMkLst>
            <pc:docMk/>
            <pc:sldMk cId="245881457" sldId="2147375597"/>
            <ac:spMk id="12" creationId="{E53E5C3F-4D2B-B85F-E592-E58E032C664C}"/>
          </ac:spMkLst>
        </pc:spChg>
        <pc:picChg chg="add mod">
          <ac:chgData name="Mustafa, Insha SBOBNG-PTIY/TLA" userId="15cd3cd4-95eb-4c80-a3da-17e5453f6f9d" providerId="ADAL" clId="{C8A6A0D5-7FAE-4E31-8DE2-E91ED835056D}" dt="2024-09-06T12:38:54.852" v="2189" actId="1076"/>
          <ac:picMkLst>
            <pc:docMk/>
            <pc:sldMk cId="245881457" sldId="2147375597"/>
            <ac:picMk id="5" creationId="{D5F48E75-67A6-F9ED-B956-8202660AC946}"/>
          </ac:picMkLst>
        </pc:picChg>
      </pc:sldChg>
      <pc:sldChg chg="addSp modSp mod">
        <pc:chgData name="Mustafa, Insha SBOBNG-PTIY/TLA" userId="15cd3cd4-95eb-4c80-a3da-17e5453f6f9d" providerId="ADAL" clId="{C8A6A0D5-7FAE-4E31-8DE2-E91ED835056D}" dt="2024-09-06T12:40:53.996" v="2193" actId="1076"/>
        <pc:sldMkLst>
          <pc:docMk/>
          <pc:sldMk cId="1181112711" sldId="2147375600"/>
        </pc:sldMkLst>
        <pc:spChg chg="mod">
          <ac:chgData name="Mustafa, Insha SBOBNG-PTIY/TLA" userId="15cd3cd4-95eb-4c80-a3da-17e5453f6f9d" providerId="ADAL" clId="{C8A6A0D5-7FAE-4E31-8DE2-E91ED835056D}" dt="2024-09-06T11:11:18.666" v="425"/>
          <ac:spMkLst>
            <pc:docMk/>
            <pc:sldMk cId="1181112711" sldId="2147375600"/>
            <ac:spMk id="11" creationId="{DE9F1BE0-7910-FA1B-DCE8-56EFD1E4FC09}"/>
          </ac:spMkLst>
        </pc:spChg>
        <pc:spChg chg="mod">
          <ac:chgData name="Mustafa, Insha SBOBNG-PTIY/TLA" userId="15cd3cd4-95eb-4c80-a3da-17e5453f6f9d" providerId="ADAL" clId="{C8A6A0D5-7FAE-4E31-8DE2-E91ED835056D}" dt="2024-09-06T12:40:48.331" v="2191" actId="20577"/>
          <ac:spMkLst>
            <pc:docMk/>
            <pc:sldMk cId="1181112711" sldId="2147375600"/>
            <ac:spMk id="12" creationId="{E53E5C3F-4D2B-B85F-E592-E58E032C664C}"/>
          </ac:spMkLst>
        </pc:spChg>
        <pc:picChg chg="add mod">
          <ac:chgData name="Mustafa, Insha SBOBNG-PTIY/TLA" userId="15cd3cd4-95eb-4c80-a3da-17e5453f6f9d" providerId="ADAL" clId="{C8A6A0D5-7FAE-4E31-8DE2-E91ED835056D}" dt="2024-09-06T12:40:53.996" v="2193" actId="1076"/>
          <ac:picMkLst>
            <pc:docMk/>
            <pc:sldMk cId="1181112711" sldId="2147375600"/>
            <ac:picMk id="5" creationId="{6B103272-962E-C11A-96B4-4C72DCEF83D8}"/>
          </ac:picMkLst>
        </pc:picChg>
      </pc:sldChg>
      <pc:sldChg chg="addSp delSp modSp mod">
        <pc:chgData name="Mustafa, Insha SBOBNG-PTIY/TLA" userId="15cd3cd4-95eb-4c80-a3da-17e5453f6f9d" providerId="ADAL" clId="{C8A6A0D5-7FAE-4E31-8DE2-E91ED835056D}" dt="2024-09-06T12:45:09.392" v="2220" actId="1036"/>
        <pc:sldMkLst>
          <pc:docMk/>
          <pc:sldMk cId="3233747587" sldId="2147375601"/>
        </pc:sldMkLst>
        <pc:spChg chg="add">
          <ac:chgData name="Mustafa, Insha SBOBNG-PTIY/TLA" userId="15cd3cd4-95eb-4c80-a3da-17e5453f6f9d" providerId="ADAL" clId="{C8A6A0D5-7FAE-4E31-8DE2-E91ED835056D}" dt="2024-09-06T11:11:58.641" v="436"/>
          <ac:spMkLst>
            <pc:docMk/>
            <pc:sldMk cId="3233747587" sldId="2147375601"/>
            <ac:spMk id="2" creationId="{2F4C4C70-AF42-B3B7-A215-910D3B9C28E4}"/>
          </ac:spMkLst>
        </pc:spChg>
        <pc:spChg chg="add">
          <ac:chgData name="Mustafa, Insha SBOBNG-PTIY/TLA" userId="15cd3cd4-95eb-4c80-a3da-17e5453f6f9d" providerId="ADAL" clId="{C8A6A0D5-7FAE-4E31-8DE2-E91ED835056D}" dt="2024-09-06T11:17:40.307" v="650"/>
          <ac:spMkLst>
            <pc:docMk/>
            <pc:sldMk cId="3233747587" sldId="2147375601"/>
            <ac:spMk id="2" creationId="{8A973BE9-F933-5E5A-EF5A-01DAC7DD58B7}"/>
          </ac:spMkLst>
        </pc:spChg>
        <pc:spChg chg="add del mod">
          <ac:chgData name="Mustafa, Insha SBOBNG-PTIY/TLA" userId="15cd3cd4-95eb-4c80-a3da-17e5453f6f9d" providerId="ADAL" clId="{C8A6A0D5-7FAE-4E31-8DE2-E91ED835056D}" dt="2024-09-06T11:19:38.028" v="705" actId="478"/>
          <ac:spMkLst>
            <pc:docMk/>
            <pc:sldMk cId="3233747587" sldId="2147375601"/>
            <ac:spMk id="5" creationId="{7BC373D3-614C-6C7A-DE5C-08F5DD935A7E}"/>
          </ac:spMkLst>
        </pc:spChg>
        <pc:spChg chg="add">
          <ac:chgData name="Mustafa, Insha SBOBNG-PTIY/TLA" userId="15cd3cd4-95eb-4c80-a3da-17e5453f6f9d" providerId="ADAL" clId="{C8A6A0D5-7FAE-4E31-8DE2-E91ED835056D}" dt="2024-09-06T11:12:02.063" v="437"/>
          <ac:spMkLst>
            <pc:docMk/>
            <pc:sldMk cId="3233747587" sldId="2147375601"/>
            <ac:spMk id="5" creationId="{CD5B73A4-0133-2649-FA0B-F3C3583FFC0B}"/>
          </ac:spMkLst>
        </pc:spChg>
        <pc:spChg chg="add del mod">
          <ac:chgData name="Mustafa, Insha SBOBNG-PTIY/TLA" userId="15cd3cd4-95eb-4c80-a3da-17e5453f6f9d" providerId="ADAL" clId="{C8A6A0D5-7FAE-4E31-8DE2-E91ED835056D}" dt="2024-09-06T11:18:54.367" v="699" actId="478"/>
          <ac:spMkLst>
            <pc:docMk/>
            <pc:sldMk cId="3233747587" sldId="2147375601"/>
            <ac:spMk id="6" creationId="{91574320-8DD2-5E17-5C56-3A3911E8662D}"/>
          </ac:spMkLst>
        </pc:spChg>
        <pc:spChg chg="add">
          <ac:chgData name="Mustafa, Insha SBOBNG-PTIY/TLA" userId="15cd3cd4-95eb-4c80-a3da-17e5453f6f9d" providerId="ADAL" clId="{C8A6A0D5-7FAE-4E31-8DE2-E91ED835056D}" dt="2024-09-06T11:12:09.582" v="438"/>
          <ac:spMkLst>
            <pc:docMk/>
            <pc:sldMk cId="3233747587" sldId="2147375601"/>
            <ac:spMk id="6" creationId="{B4C855D1-BB75-510E-59DA-3B33A6889115}"/>
          </ac:spMkLst>
        </pc:spChg>
        <pc:spChg chg="add del mod">
          <ac:chgData name="Mustafa, Insha SBOBNG-PTIY/TLA" userId="15cd3cd4-95eb-4c80-a3da-17e5453f6f9d" providerId="ADAL" clId="{C8A6A0D5-7FAE-4E31-8DE2-E91ED835056D}" dt="2024-09-06T11:20:45.198" v="721" actId="478"/>
          <ac:spMkLst>
            <pc:docMk/>
            <pc:sldMk cId="3233747587" sldId="2147375601"/>
            <ac:spMk id="8" creationId="{73EBBDF1-C76F-7672-55CC-B37E4A51DFA2}"/>
          </ac:spMkLst>
        </pc:spChg>
        <pc:spChg chg="add">
          <ac:chgData name="Mustafa, Insha SBOBNG-PTIY/TLA" userId="15cd3cd4-95eb-4c80-a3da-17e5453f6f9d" providerId="ADAL" clId="{C8A6A0D5-7FAE-4E31-8DE2-E91ED835056D}" dt="2024-09-06T11:12:19.828" v="442"/>
          <ac:spMkLst>
            <pc:docMk/>
            <pc:sldMk cId="3233747587" sldId="2147375601"/>
            <ac:spMk id="8" creationId="{A47B10FC-8970-F40E-71C6-6072FBB9C8E2}"/>
          </ac:spMkLst>
        </pc:spChg>
        <pc:spChg chg="mod">
          <ac:chgData name="Mustafa, Insha SBOBNG-PTIY/TLA" userId="15cd3cd4-95eb-4c80-a3da-17e5453f6f9d" providerId="ADAL" clId="{C8A6A0D5-7FAE-4E31-8DE2-E91ED835056D}" dt="2024-09-06T11:23:13.120" v="1065" actId="113"/>
          <ac:spMkLst>
            <pc:docMk/>
            <pc:sldMk cId="3233747587" sldId="2147375601"/>
            <ac:spMk id="11" creationId="{DE9F1BE0-7910-FA1B-DCE8-56EFD1E4FC09}"/>
          </ac:spMkLst>
        </pc:spChg>
        <pc:spChg chg="mod">
          <ac:chgData name="Mustafa, Insha SBOBNG-PTIY/TLA" userId="15cd3cd4-95eb-4c80-a3da-17e5453f6f9d" providerId="ADAL" clId="{C8A6A0D5-7FAE-4E31-8DE2-E91ED835056D}" dt="2024-09-06T12:44:36.631" v="2205" actId="20577"/>
          <ac:spMkLst>
            <pc:docMk/>
            <pc:sldMk cId="3233747587" sldId="2147375601"/>
            <ac:spMk id="12" creationId="{E53E5C3F-4D2B-B85F-E592-E58E032C664C}"/>
          </ac:spMkLst>
        </pc:spChg>
        <pc:spChg chg="add">
          <ac:chgData name="Mustafa, Insha SBOBNG-PTIY/TLA" userId="15cd3cd4-95eb-4c80-a3da-17e5453f6f9d" providerId="ADAL" clId="{C8A6A0D5-7FAE-4E31-8DE2-E91ED835056D}" dt="2024-09-06T11:12:39.291" v="452"/>
          <ac:spMkLst>
            <pc:docMk/>
            <pc:sldMk cId="3233747587" sldId="2147375601"/>
            <ac:spMk id="13" creationId="{8D07C7E0-8AEB-DB60-8A4A-8EFDAE96315B}"/>
          </ac:spMkLst>
        </pc:spChg>
        <pc:spChg chg="add del mod">
          <ac:chgData name="Mustafa, Insha SBOBNG-PTIY/TLA" userId="15cd3cd4-95eb-4c80-a3da-17e5453f6f9d" providerId="ADAL" clId="{C8A6A0D5-7FAE-4E31-8DE2-E91ED835056D}" dt="2024-09-06T11:13:11.610" v="459" actId="478"/>
          <ac:spMkLst>
            <pc:docMk/>
            <pc:sldMk cId="3233747587" sldId="2147375601"/>
            <ac:spMk id="14" creationId="{316698D2-6F4C-352B-E1CB-B4A89EDB7019}"/>
          </ac:spMkLst>
        </pc:spChg>
        <pc:spChg chg="add del mod">
          <ac:chgData name="Mustafa, Insha SBOBNG-PTIY/TLA" userId="15cd3cd4-95eb-4c80-a3da-17e5453f6f9d" providerId="ADAL" clId="{C8A6A0D5-7FAE-4E31-8DE2-E91ED835056D}" dt="2024-09-06T11:13:11.753" v="460"/>
          <ac:spMkLst>
            <pc:docMk/>
            <pc:sldMk cId="3233747587" sldId="2147375601"/>
            <ac:spMk id="15" creationId="{6D477FAC-B994-5AFF-3BFE-342F99A4F0FA}"/>
          </ac:spMkLst>
        </pc:spChg>
        <pc:spChg chg="add">
          <ac:chgData name="Mustafa, Insha SBOBNG-PTIY/TLA" userId="15cd3cd4-95eb-4c80-a3da-17e5453f6f9d" providerId="ADAL" clId="{C8A6A0D5-7FAE-4E31-8DE2-E91ED835056D}" dt="2024-09-06T11:13:09.360" v="458"/>
          <ac:spMkLst>
            <pc:docMk/>
            <pc:sldMk cId="3233747587" sldId="2147375601"/>
            <ac:spMk id="16" creationId="{11996858-4F2C-71F4-67B6-253637D281E0}"/>
          </ac:spMkLst>
        </pc:spChg>
        <pc:spChg chg="add">
          <ac:chgData name="Mustafa, Insha SBOBNG-PTIY/TLA" userId="15cd3cd4-95eb-4c80-a3da-17e5453f6f9d" providerId="ADAL" clId="{C8A6A0D5-7FAE-4E31-8DE2-E91ED835056D}" dt="2024-09-06T11:13:16.742" v="470"/>
          <ac:spMkLst>
            <pc:docMk/>
            <pc:sldMk cId="3233747587" sldId="2147375601"/>
            <ac:spMk id="17" creationId="{C6A2324B-A419-EBA1-5744-DE184536310E}"/>
          </ac:spMkLst>
        </pc:spChg>
        <pc:spChg chg="add">
          <ac:chgData name="Mustafa, Insha SBOBNG-PTIY/TLA" userId="15cd3cd4-95eb-4c80-a3da-17e5453f6f9d" providerId="ADAL" clId="{C8A6A0D5-7FAE-4E31-8DE2-E91ED835056D}" dt="2024-09-06T11:13:23.820" v="471"/>
          <ac:spMkLst>
            <pc:docMk/>
            <pc:sldMk cId="3233747587" sldId="2147375601"/>
            <ac:spMk id="18" creationId="{DAABC34E-10E1-5C39-0B15-8BD7A65BD37C}"/>
          </ac:spMkLst>
        </pc:spChg>
        <pc:spChg chg="add mod">
          <ac:chgData name="Mustafa, Insha SBOBNG-PTIY/TLA" userId="15cd3cd4-95eb-4c80-a3da-17e5453f6f9d" providerId="ADAL" clId="{C8A6A0D5-7FAE-4E31-8DE2-E91ED835056D}" dt="2024-09-06T11:15:19.406" v="611" actId="20577"/>
          <ac:spMkLst>
            <pc:docMk/>
            <pc:sldMk cId="3233747587" sldId="2147375601"/>
            <ac:spMk id="19" creationId="{781FE3F3-BA09-E730-0CA2-AE6EA2F9510F}"/>
          </ac:spMkLst>
        </pc:spChg>
        <pc:spChg chg="add del mod">
          <ac:chgData name="Mustafa, Insha SBOBNG-PTIY/TLA" userId="15cd3cd4-95eb-4c80-a3da-17e5453f6f9d" providerId="ADAL" clId="{C8A6A0D5-7FAE-4E31-8DE2-E91ED835056D}" dt="2024-09-06T11:16:26.421" v="640" actId="478"/>
          <ac:spMkLst>
            <pc:docMk/>
            <pc:sldMk cId="3233747587" sldId="2147375601"/>
            <ac:spMk id="21" creationId="{66FC86B9-1D6F-FB30-5CD8-D3A946F85BEE}"/>
          </ac:spMkLst>
        </pc:spChg>
        <pc:spChg chg="add mod">
          <ac:chgData name="Mustafa, Insha SBOBNG-PTIY/TLA" userId="15cd3cd4-95eb-4c80-a3da-17e5453f6f9d" providerId="ADAL" clId="{C8A6A0D5-7FAE-4E31-8DE2-E91ED835056D}" dt="2024-09-06T11:14:53.469" v="499"/>
          <ac:spMkLst>
            <pc:docMk/>
            <pc:sldMk cId="3233747587" sldId="2147375601"/>
            <ac:spMk id="22" creationId="{07104328-5909-609F-046E-94ECEB9E7047}"/>
          </ac:spMkLst>
        </pc:spChg>
        <pc:spChg chg="add mod">
          <ac:chgData name="Mustafa, Insha SBOBNG-PTIY/TLA" userId="15cd3cd4-95eb-4c80-a3da-17e5453f6f9d" providerId="ADAL" clId="{C8A6A0D5-7FAE-4E31-8DE2-E91ED835056D}" dt="2024-09-06T11:14:59.705" v="501"/>
          <ac:spMkLst>
            <pc:docMk/>
            <pc:sldMk cId="3233747587" sldId="2147375601"/>
            <ac:spMk id="23" creationId="{A6366CA9-5DC1-2CF5-9714-CC8C210F5A2B}"/>
          </ac:spMkLst>
        </pc:spChg>
        <pc:spChg chg="add">
          <ac:chgData name="Mustafa, Insha SBOBNG-PTIY/TLA" userId="15cd3cd4-95eb-4c80-a3da-17e5453f6f9d" providerId="ADAL" clId="{C8A6A0D5-7FAE-4E31-8DE2-E91ED835056D}" dt="2024-09-06T11:15:27.251" v="613"/>
          <ac:spMkLst>
            <pc:docMk/>
            <pc:sldMk cId="3233747587" sldId="2147375601"/>
            <ac:spMk id="24" creationId="{7FFD5A52-FF80-FBB9-2037-55634CB9B0CC}"/>
          </ac:spMkLst>
        </pc:spChg>
        <pc:spChg chg="add">
          <ac:chgData name="Mustafa, Insha SBOBNG-PTIY/TLA" userId="15cd3cd4-95eb-4c80-a3da-17e5453f6f9d" providerId="ADAL" clId="{C8A6A0D5-7FAE-4E31-8DE2-E91ED835056D}" dt="2024-09-06T11:15:31.640" v="614"/>
          <ac:spMkLst>
            <pc:docMk/>
            <pc:sldMk cId="3233747587" sldId="2147375601"/>
            <ac:spMk id="25" creationId="{8E857DFD-E756-E2E2-147B-D25D8CD041F9}"/>
          </ac:spMkLst>
        </pc:spChg>
        <pc:spChg chg="add mod">
          <ac:chgData name="Mustafa, Insha SBOBNG-PTIY/TLA" userId="15cd3cd4-95eb-4c80-a3da-17e5453f6f9d" providerId="ADAL" clId="{C8A6A0D5-7FAE-4E31-8DE2-E91ED835056D}" dt="2024-09-06T11:15:44.632" v="616"/>
          <ac:spMkLst>
            <pc:docMk/>
            <pc:sldMk cId="3233747587" sldId="2147375601"/>
            <ac:spMk id="26" creationId="{5473CD64-7658-3158-E500-B2CDA047CB6E}"/>
          </ac:spMkLst>
        </pc:spChg>
        <pc:spChg chg="add">
          <ac:chgData name="Mustafa, Insha SBOBNG-PTIY/TLA" userId="15cd3cd4-95eb-4c80-a3da-17e5453f6f9d" providerId="ADAL" clId="{C8A6A0D5-7FAE-4E31-8DE2-E91ED835056D}" dt="2024-09-06T11:16:12.847" v="637"/>
          <ac:spMkLst>
            <pc:docMk/>
            <pc:sldMk cId="3233747587" sldId="2147375601"/>
            <ac:spMk id="27" creationId="{81807619-4A5D-DE22-7FE9-78F2CF8C2423}"/>
          </ac:spMkLst>
        </pc:spChg>
        <pc:spChg chg="add">
          <ac:chgData name="Mustafa, Insha SBOBNG-PTIY/TLA" userId="15cd3cd4-95eb-4c80-a3da-17e5453f6f9d" providerId="ADAL" clId="{C8A6A0D5-7FAE-4E31-8DE2-E91ED835056D}" dt="2024-09-06T11:16:33.162" v="642"/>
          <ac:spMkLst>
            <pc:docMk/>
            <pc:sldMk cId="3233747587" sldId="2147375601"/>
            <ac:spMk id="28" creationId="{A44CB742-9F15-3104-85ED-30CE9BD2E279}"/>
          </ac:spMkLst>
        </pc:spChg>
        <pc:spChg chg="add del mod">
          <ac:chgData name="Mustafa, Insha SBOBNG-PTIY/TLA" userId="15cd3cd4-95eb-4c80-a3da-17e5453f6f9d" providerId="ADAL" clId="{C8A6A0D5-7FAE-4E31-8DE2-E91ED835056D}" dt="2024-09-06T11:16:55.062" v="648" actId="478"/>
          <ac:spMkLst>
            <pc:docMk/>
            <pc:sldMk cId="3233747587" sldId="2147375601"/>
            <ac:spMk id="29" creationId="{B3460B7C-A894-1546-1354-0B291B2460D8}"/>
          </ac:spMkLst>
        </pc:spChg>
        <pc:picChg chg="add mod">
          <ac:chgData name="Mustafa, Insha SBOBNG-PTIY/TLA" userId="15cd3cd4-95eb-4c80-a3da-17e5453f6f9d" providerId="ADAL" clId="{C8A6A0D5-7FAE-4E31-8DE2-E91ED835056D}" dt="2024-09-06T12:45:09.392" v="2220" actId="1036"/>
          <ac:picMkLst>
            <pc:docMk/>
            <pc:sldMk cId="3233747587" sldId="2147375601"/>
            <ac:picMk id="5" creationId="{FB32BF49-C546-719D-FC17-187C9C978B36}"/>
          </ac:picMkLst>
        </pc:picChg>
      </pc:sldChg>
      <pc:sldChg chg="addSp modSp mod">
        <pc:chgData name="Mustafa, Insha SBOBNG-PTIY/TLA" userId="15cd3cd4-95eb-4c80-a3da-17e5453f6f9d" providerId="ADAL" clId="{C8A6A0D5-7FAE-4E31-8DE2-E91ED835056D}" dt="2024-09-06T12:38:05.105" v="2184" actId="1076"/>
        <pc:sldMkLst>
          <pc:docMk/>
          <pc:sldMk cId="3971512377" sldId="2147375603"/>
        </pc:sldMkLst>
        <pc:spChg chg="mod">
          <ac:chgData name="Mustafa, Insha SBOBNG-PTIY/TLA" userId="15cd3cd4-95eb-4c80-a3da-17e5453f6f9d" providerId="ADAL" clId="{C8A6A0D5-7FAE-4E31-8DE2-E91ED835056D}" dt="2024-09-06T11:27:35.905" v="1141" actId="20577"/>
          <ac:spMkLst>
            <pc:docMk/>
            <pc:sldMk cId="3971512377" sldId="2147375603"/>
            <ac:spMk id="11" creationId="{DE9F1BE0-7910-FA1B-DCE8-56EFD1E4FC09}"/>
          </ac:spMkLst>
        </pc:spChg>
        <pc:picChg chg="add mod">
          <ac:chgData name="Mustafa, Insha SBOBNG-PTIY/TLA" userId="15cd3cd4-95eb-4c80-a3da-17e5453f6f9d" providerId="ADAL" clId="{C8A6A0D5-7FAE-4E31-8DE2-E91ED835056D}" dt="2024-09-06T12:38:05.105" v="2184" actId="1076"/>
          <ac:picMkLst>
            <pc:docMk/>
            <pc:sldMk cId="3971512377" sldId="2147375603"/>
            <ac:picMk id="6" creationId="{ACE22A1B-A918-6EB0-7DBB-9490E7028506}"/>
          </ac:picMkLst>
        </pc:picChg>
      </pc:sldChg>
      <pc:sldChg chg="addSp modSp mod">
        <pc:chgData name="Mustafa, Insha SBOBNG-PTIY/TLA" userId="15cd3cd4-95eb-4c80-a3da-17e5453f6f9d" providerId="ADAL" clId="{C8A6A0D5-7FAE-4E31-8DE2-E91ED835056D}" dt="2024-09-06T12:41:51.775" v="2199" actId="1076"/>
        <pc:sldMkLst>
          <pc:docMk/>
          <pc:sldMk cId="3179805674" sldId="2147375604"/>
        </pc:sldMkLst>
        <pc:spChg chg="mod">
          <ac:chgData name="Mustafa, Insha SBOBNG-PTIY/TLA" userId="15cd3cd4-95eb-4c80-a3da-17e5453f6f9d" providerId="ADAL" clId="{C8A6A0D5-7FAE-4E31-8DE2-E91ED835056D}" dt="2024-09-06T11:28:37.044" v="1168" actId="113"/>
          <ac:spMkLst>
            <pc:docMk/>
            <pc:sldMk cId="3179805674" sldId="2147375604"/>
            <ac:spMk id="11" creationId="{DE9F1BE0-7910-FA1B-DCE8-56EFD1E4FC09}"/>
          </ac:spMkLst>
        </pc:spChg>
        <pc:spChg chg="mod">
          <ac:chgData name="Mustafa, Insha SBOBNG-PTIY/TLA" userId="15cd3cd4-95eb-4c80-a3da-17e5453f6f9d" providerId="ADAL" clId="{C8A6A0D5-7FAE-4E31-8DE2-E91ED835056D}" dt="2024-09-06T12:41:23.903" v="2194" actId="20577"/>
          <ac:spMkLst>
            <pc:docMk/>
            <pc:sldMk cId="3179805674" sldId="2147375604"/>
            <ac:spMk id="12" creationId="{E53E5C3F-4D2B-B85F-E592-E58E032C664C}"/>
          </ac:spMkLst>
        </pc:spChg>
        <pc:picChg chg="add mod">
          <ac:chgData name="Mustafa, Insha SBOBNG-PTIY/TLA" userId="15cd3cd4-95eb-4c80-a3da-17e5453f6f9d" providerId="ADAL" clId="{C8A6A0D5-7FAE-4E31-8DE2-E91ED835056D}" dt="2024-09-06T12:41:51.775" v="2199" actId="1076"/>
          <ac:picMkLst>
            <pc:docMk/>
            <pc:sldMk cId="3179805674" sldId="2147375604"/>
            <ac:picMk id="6" creationId="{E8F28411-1438-A172-1F95-4B56D8ECB944}"/>
          </ac:picMkLst>
        </pc:picChg>
      </pc:sldChg>
      <pc:sldChg chg="addSp modSp mod">
        <pc:chgData name="Mustafa, Insha SBOBNG-PTIY/TLA" userId="15cd3cd4-95eb-4c80-a3da-17e5453f6f9d" providerId="ADAL" clId="{C8A6A0D5-7FAE-4E31-8DE2-E91ED835056D}" dt="2024-09-06T12:46:07.704" v="2225" actId="14100"/>
        <pc:sldMkLst>
          <pc:docMk/>
          <pc:sldMk cId="86366928" sldId="2147375605"/>
        </pc:sldMkLst>
        <pc:spChg chg="mod">
          <ac:chgData name="Mustafa, Insha SBOBNG-PTIY/TLA" userId="15cd3cd4-95eb-4c80-a3da-17e5453f6f9d" providerId="ADAL" clId="{C8A6A0D5-7FAE-4E31-8DE2-E91ED835056D}" dt="2024-09-06T11:29:27.507" v="1186" actId="113"/>
          <ac:spMkLst>
            <pc:docMk/>
            <pc:sldMk cId="86366928" sldId="2147375605"/>
            <ac:spMk id="11" creationId="{DE9F1BE0-7910-FA1B-DCE8-56EFD1E4FC09}"/>
          </ac:spMkLst>
        </pc:spChg>
        <pc:spChg chg="mod">
          <ac:chgData name="Mustafa, Insha SBOBNG-PTIY/TLA" userId="15cd3cd4-95eb-4c80-a3da-17e5453f6f9d" providerId="ADAL" clId="{C8A6A0D5-7FAE-4E31-8DE2-E91ED835056D}" dt="2024-09-06T12:45:54.943" v="2221" actId="20577"/>
          <ac:spMkLst>
            <pc:docMk/>
            <pc:sldMk cId="86366928" sldId="2147375605"/>
            <ac:spMk id="12" creationId="{E53E5C3F-4D2B-B85F-E592-E58E032C664C}"/>
          </ac:spMkLst>
        </pc:spChg>
        <pc:picChg chg="add mod">
          <ac:chgData name="Mustafa, Insha SBOBNG-PTIY/TLA" userId="15cd3cd4-95eb-4c80-a3da-17e5453f6f9d" providerId="ADAL" clId="{C8A6A0D5-7FAE-4E31-8DE2-E91ED835056D}" dt="2024-09-06T12:46:07.704" v="2225" actId="14100"/>
          <ac:picMkLst>
            <pc:docMk/>
            <pc:sldMk cId="86366928" sldId="2147375605"/>
            <ac:picMk id="6" creationId="{384C9AE5-6C0A-4CA5-FA07-39487DAC6B3E}"/>
          </ac:picMkLst>
        </pc:picChg>
      </pc:sldChg>
      <pc:sldChg chg="addSp modSp mod">
        <pc:chgData name="Mustafa, Insha SBOBNG-PTIY/TLA" userId="15cd3cd4-95eb-4c80-a3da-17e5453f6f9d" providerId="ADAL" clId="{C8A6A0D5-7FAE-4E31-8DE2-E91ED835056D}" dt="2024-09-06T12:37:18.326" v="2179" actId="1076"/>
        <pc:sldMkLst>
          <pc:docMk/>
          <pc:sldMk cId="2340944189" sldId="2147375607"/>
        </pc:sldMkLst>
        <pc:spChg chg="mod">
          <ac:chgData name="Mustafa, Insha SBOBNG-PTIY/TLA" userId="15cd3cd4-95eb-4c80-a3da-17e5453f6f9d" providerId="ADAL" clId="{C8A6A0D5-7FAE-4E31-8DE2-E91ED835056D}" dt="2024-09-06T11:30:41.933" v="1228" actId="20577"/>
          <ac:spMkLst>
            <pc:docMk/>
            <pc:sldMk cId="2340944189" sldId="2147375607"/>
            <ac:spMk id="11" creationId="{DE9F1BE0-7910-FA1B-DCE8-56EFD1E4FC09}"/>
          </ac:spMkLst>
        </pc:spChg>
        <pc:picChg chg="add mod">
          <ac:chgData name="Mustafa, Insha SBOBNG-PTIY/TLA" userId="15cd3cd4-95eb-4c80-a3da-17e5453f6f9d" providerId="ADAL" clId="{C8A6A0D5-7FAE-4E31-8DE2-E91ED835056D}" dt="2024-09-06T12:37:18.326" v="2179" actId="1076"/>
          <ac:picMkLst>
            <pc:docMk/>
            <pc:sldMk cId="2340944189" sldId="2147375607"/>
            <ac:picMk id="6" creationId="{B53CD415-8101-4834-F75E-AE2E79BB3D41}"/>
          </ac:picMkLst>
        </pc:picChg>
      </pc:sldChg>
      <pc:sldChg chg="addSp modSp mod">
        <pc:chgData name="Mustafa, Insha SBOBNG-PTIY/TLA" userId="15cd3cd4-95eb-4c80-a3da-17e5453f6f9d" providerId="ADAL" clId="{C8A6A0D5-7FAE-4E31-8DE2-E91ED835056D}" dt="2024-09-06T12:43:40.907" v="2204" actId="14100"/>
        <pc:sldMkLst>
          <pc:docMk/>
          <pc:sldMk cId="3159148252" sldId="2147375608"/>
        </pc:sldMkLst>
        <pc:spChg chg="mod">
          <ac:chgData name="Mustafa, Insha SBOBNG-PTIY/TLA" userId="15cd3cd4-95eb-4c80-a3da-17e5453f6f9d" providerId="ADAL" clId="{C8A6A0D5-7FAE-4E31-8DE2-E91ED835056D}" dt="2024-09-06T11:32:00.055" v="1345" actId="20577"/>
          <ac:spMkLst>
            <pc:docMk/>
            <pc:sldMk cId="3159148252" sldId="2147375608"/>
            <ac:spMk id="11" creationId="{DE9F1BE0-7910-FA1B-DCE8-56EFD1E4FC09}"/>
          </ac:spMkLst>
        </pc:spChg>
        <pc:spChg chg="mod">
          <ac:chgData name="Mustafa, Insha SBOBNG-PTIY/TLA" userId="15cd3cd4-95eb-4c80-a3da-17e5453f6f9d" providerId="ADAL" clId="{C8A6A0D5-7FAE-4E31-8DE2-E91ED835056D}" dt="2024-09-06T12:43:26.595" v="2200" actId="20577"/>
          <ac:spMkLst>
            <pc:docMk/>
            <pc:sldMk cId="3159148252" sldId="2147375608"/>
            <ac:spMk id="12" creationId="{E53E5C3F-4D2B-B85F-E592-E58E032C664C}"/>
          </ac:spMkLst>
        </pc:spChg>
        <pc:picChg chg="add mod">
          <ac:chgData name="Mustafa, Insha SBOBNG-PTIY/TLA" userId="15cd3cd4-95eb-4c80-a3da-17e5453f6f9d" providerId="ADAL" clId="{C8A6A0D5-7FAE-4E31-8DE2-E91ED835056D}" dt="2024-09-06T12:43:40.907" v="2204" actId="14100"/>
          <ac:picMkLst>
            <pc:docMk/>
            <pc:sldMk cId="3159148252" sldId="2147375608"/>
            <ac:picMk id="6" creationId="{71FBEC2C-840C-A71A-87AB-825B5E05BB50}"/>
          </ac:picMkLst>
        </pc:picChg>
      </pc:sldChg>
      <pc:sldChg chg="addSp delSp modSp mod">
        <pc:chgData name="Mustafa, Insha SBOBNG-PTIY/TLA" userId="15cd3cd4-95eb-4c80-a3da-17e5453f6f9d" providerId="ADAL" clId="{C8A6A0D5-7FAE-4E31-8DE2-E91ED835056D}" dt="2024-09-06T12:48:44.599" v="2238" actId="1036"/>
        <pc:sldMkLst>
          <pc:docMk/>
          <pc:sldMk cId="3070204084" sldId="2147375609"/>
        </pc:sldMkLst>
        <pc:spChg chg="mod">
          <ac:chgData name="Mustafa, Insha SBOBNG-PTIY/TLA" userId="15cd3cd4-95eb-4c80-a3da-17e5453f6f9d" providerId="ADAL" clId="{C8A6A0D5-7FAE-4E31-8DE2-E91ED835056D}" dt="2024-09-06T11:32:56.110" v="1381" actId="20577"/>
          <ac:spMkLst>
            <pc:docMk/>
            <pc:sldMk cId="3070204084" sldId="2147375609"/>
            <ac:spMk id="11" creationId="{DE9F1BE0-7910-FA1B-DCE8-56EFD1E4FC09}"/>
          </ac:spMkLst>
        </pc:spChg>
        <pc:spChg chg="mod">
          <ac:chgData name="Mustafa, Insha SBOBNG-PTIY/TLA" userId="15cd3cd4-95eb-4c80-a3da-17e5453f6f9d" providerId="ADAL" clId="{C8A6A0D5-7FAE-4E31-8DE2-E91ED835056D}" dt="2024-09-06T12:47:10.062" v="2226" actId="20577"/>
          <ac:spMkLst>
            <pc:docMk/>
            <pc:sldMk cId="3070204084" sldId="2147375609"/>
            <ac:spMk id="12" creationId="{E53E5C3F-4D2B-B85F-E592-E58E032C664C}"/>
          </ac:spMkLst>
        </pc:spChg>
        <pc:picChg chg="add del mod">
          <ac:chgData name="Mustafa, Insha SBOBNG-PTIY/TLA" userId="15cd3cd4-95eb-4c80-a3da-17e5453f6f9d" providerId="ADAL" clId="{C8A6A0D5-7FAE-4E31-8DE2-E91ED835056D}" dt="2024-09-06T12:47:17.897" v="2229" actId="478"/>
          <ac:picMkLst>
            <pc:docMk/>
            <pc:sldMk cId="3070204084" sldId="2147375609"/>
            <ac:picMk id="1026" creationId="{D3EB8590-DA39-9F9F-E114-A4855973E916}"/>
          </ac:picMkLst>
        </pc:picChg>
        <pc:picChg chg="add mod">
          <ac:chgData name="Mustafa, Insha SBOBNG-PTIY/TLA" userId="15cd3cd4-95eb-4c80-a3da-17e5453f6f9d" providerId="ADAL" clId="{C8A6A0D5-7FAE-4E31-8DE2-E91ED835056D}" dt="2024-09-06T12:48:44.599" v="2238" actId="1036"/>
          <ac:picMkLst>
            <pc:docMk/>
            <pc:sldMk cId="3070204084" sldId="2147375609"/>
            <ac:picMk id="1028" creationId="{BABFFD62-65D5-9746-5164-98A25297437B}"/>
          </ac:picMkLst>
        </pc:picChg>
      </pc:sldChg>
      <pc:sldChg chg="modSp mod">
        <pc:chgData name="Mustafa, Insha SBOBNG-PTIY/TLA" userId="15cd3cd4-95eb-4c80-a3da-17e5453f6f9d" providerId="ADAL" clId="{C8A6A0D5-7FAE-4E31-8DE2-E91ED835056D}" dt="2024-09-06T11:33:56.849" v="1546" actId="20577"/>
        <pc:sldMkLst>
          <pc:docMk/>
          <pc:sldMk cId="3754613224" sldId="2147375611"/>
        </pc:sldMkLst>
        <pc:spChg chg="mod">
          <ac:chgData name="Mustafa, Insha SBOBNG-PTIY/TLA" userId="15cd3cd4-95eb-4c80-a3da-17e5453f6f9d" providerId="ADAL" clId="{C8A6A0D5-7FAE-4E31-8DE2-E91ED835056D}" dt="2024-09-06T11:33:29.347" v="1464" actId="20577"/>
          <ac:spMkLst>
            <pc:docMk/>
            <pc:sldMk cId="3754613224" sldId="2147375611"/>
            <ac:spMk id="18" creationId="{6C73795A-BE20-7075-E9C6-6F145CE60794}"/>
          </ac:spMkLst>
        </pc:spChg>
        <pc:spChg chg="mod">
          <ac:chgData name="Mustafa, Insha SBOBNG-PTIY/TLA" userId="15cd3cd4-95eb-4c80-a3da-17e5453f6f9d" providerId="ADAL" clId="{C8A6A0D5-7FAE-4E31-8DE2-E91ED835056D}" dt="2024-09-06T11:33:35.777" v="1478" actId="20577"/>
          <ac:spMkLst>
            <pc:docMk/>
            <pc:sldMk cId="3754613224" sldId="2147375611"/>
            <ac:spMk id="19" creationId="{A3E2F4D1-4417-E244-3DB9-A6FF5866A342}"/>
          </ac:spMkLst>
        </pc:spChg>
        <pc:spChg chg="mod">
          <ac:chgData name="Mustafa, Insha SBOBNG-PTIY/TLA" userId="15cd3cd4-95eb-4c80-a3da-17e5453f6f9d" providerId="ADAL" clId="{C8A6A0D5-7FAE-4E31-8DE2-E91ED835056D}" dt="2024-09-06T11:33:56.849" v="1546" actId="20577"/>
          <ac:spMkLst>
            <pc:docMk/>
            <pc:sldMk cId="3754613224" sldId="2147375611"/>
            <ac:spMk id="20" creationId="{3EBEB0AC-D407-44FD-A74F-90F67F3D13C3}"/>
          </ac:spMkLst>
        </pc:spChg>
      </pc:sldChg>
      <pc:sldChg chg="addSp modSp mod">
        <pc:chgData name="Mustafa, Insha SBOBNG-PTIY/TLA" userId="15cd3cd4-95eb-4c80-a3da-17e5453f6f9d" providerId="ADAL" clId="{C8A6A0D5-7FAE-4E31-8DE2-E91ED835056D}" dt="2024-09-06T12:31:09.286" v="2174" actId="1076"/>
        <pc:sldMkLst>
          <pc:docMk/>
          <pc:sldMk cId="1148838763" sldId="2147375613"/>
        </pc:sldMkLst>
        <pc:spChg chg="mod">
          <ac:chgData name="Mustafa, Insha SBOBNG-PTIY/TLA" userId="15cd3cd4-95eb-4c80-a3da-17e5453f6f9d" providerId="ADAL" clId="{C8A6A0D5-7FAE-4E31-8DE2-E91ED835056D}" dt="2024-09-06T12:29:56.595" v="2169" actId="20577"/>
          <ac:spMkLst>
            <pc:docMk/>
            <pc:sldMk cId="1148838763" sldId="2147375613"/>
            <ac:spMk id="11" creationId="{8CC1343B-2E39-FEFF-8FF6-46822F18B432}"/>
          </ac:spMkLst>
        </pc:spChg>
        <pc:spChg chg="mod">
          <ac:chgData name="Mustafa, Insha SBOBNG-PTIY/TLA" userId="15cd3cd4-95eb-4c80-a3da-17e5453f6f9d" providerId="ADAL" clId="{C8A6A0D5-7FAE-4E31-8DE2-E91ED835056D}" dt="2024-09-06T12:30:56.192" v="2170" actId="20577"/>
          <ac:spMkLst>
            <pc:docMk/>
            <pc:sldMk cId="1148838763" sldId="2147375613"/>
            <ac:spMk id="12" creationId="{5A873A1A-E63F-91AE-7D43-ED0F86870147}"/>
          </ac:spMkLst>
        </pc:spChg>
        <pc:picChg chg="add mod">
          <ac:chgData name="Mustafa, Insha SBOBNG-PTIY/TLA" userId="15cd3cd4-95eb-4c80-a3da-17e5453f6f9d" providerId="ADAL" clId="{C8A6A0D5-7FAE-4E31-8DE2-E91ED835056D}" dt="2024-09-06T12:31:09.286" v="2174" actId="1076"/>
          <ac:picMkLst>
            <pc:docMk/>
            <pc:sldMk cId="1148838763" sldId="2147375613"/>
            <ac:picMk id="5" creationId="{674232FC-5847-1B72-DC58-FBE112E8D79A}"/>
          </ac:picMkLst>
        </pc:picChg>
      </pc:sldChg>
      <pc:sldChg chg="modSp mod">
        <pc:chgData name="Mustafa, Insha SBOBNG-PTIY/TLA" userId="15cd3cd4-95eb-4c80-a3da-17e5453f6f9d" providerId="ADAL" clId="{C8A6A0D5-7FAE-4E31-8DE2-E91ED835056D}" dt="2024-09-06T12:28:35.502" v="1993" actId="20577"/>
        <pc:sldMkLst>
          <pc:docMk/>
          <pc:sldMk cId="3865850111" sldId="2147375614"/>
        </pc:sldMkLst>
        <pc:spChg chg="mod">
          <ac:chgData name="Mustafa, Insha SBOBNG-PTIY/TLA" userId="15cd3cd4-95eb-4c80-a3da-17e5453f6f9d" providerId="ADAL" clId="{C8A6A0D5-7FAE-4E31-8DE2-E91ED835056D}" dt="2024-09-06T12:28:35.502" v="1993" actId="20577"/>
          <ac:spMkLst>
            <pc:docMk/>
            <pc:sldMk cId="3865850111" sldId="2147375614"/>
            <ac:spMk id="6" creationId="{AC2F88D2-81D4-FAD4-568E-A3F495B0641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3.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2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3.png"/><Relationship Id="rId4" Type="http://schemas.openxmlformats.org/officeDocument/2006/relationships/image" Target="../media/image22.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Isha Singhal</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06-Sept-2024</a:t>
            </a:r>
          </a:p>
        </p:txBody>
      </p:sp>
      <p:pic>
        <p:nvPicPr>
          <p:cNvPr id="3" name="Picture 2">
            <a:extLst>
              <a:ext uri="{FF2B5EF4-FFF2-40B4-BE49-F238E27FC236}">
                <a16:creationId xmlns:a16="http://schemas.microsoft.com/office/drawing/2014/main" id="{36900D48-B2F5-5865-7F5F-0EA73FF12569}"/>
              </a:ext>
            </a:extLst>
          </p:cNvPr>
          <p:cNvPicPr>
            <a:picLocks noChangeAspect="1"/>
          </p:cNvPicPr>
          <p:nvPr/>
        </p:nvPicPr>
        <p:blipFill>
          <a:blip r:embed="rId2"/>
          <a:stretch>
            <a:fillRect/>
          </a:stretch>
        </p:blipFill>
        <p:spPr>
          <a:xfrm>
            <a:off x="8550785" y="628595"/>
            <a:ext cx="2928117" cy="2182615"/>
          </a:xfrm>
          <a:prstGeom prst="rect">
            <a:avLst/>
          </a:prstGeom>
        </p:spPr>
      </p:pic>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1" dirty="0"/>
              <a:t>DBMS</a:t>
            </a:r>
            <a:endParaRPr lang="en-GB" sz="2000" b="1" dirty="0"/>
          </a:p>
          <a:p>
            <a:pPr marL="0" indent="0">
              <a:buNone/>
            </a:pPr>
            <a:r>
              <a:rPr lang="en-GB" sz="2000" b="1" dirty="0"/>
              <a:t>Unified Data Platform: </a:t>
            </a:r>
            <a:r>
              <a:rPr lang="en-GB" sz="2000" dirty="0"/>
              <a:t>Shell has developed a Unified Data Analytics Platform to integrate data across the company, enhancing efficiency and decision-making.</a:t>
            </a:r>
          </a:p>
          <a:p>
            <a:pPr marL="0" indent="0">
              <a:buNone/>
            </a:pPr>
            <a:r>
              <a:rPr lang="en-GB" sz="2000" b="1" dirty="0"/>
              <a:t>Data Management: </a:t>
            </a:r>
            <a:r>
              <a:rPr lang="en-GB" sz="2000" dirty="0"/>
              <a:t>Shell uses various DBMS technologies to manage and </a:t>
            </a:r>
            <a:r>
              <a:rPr lang="en-GB" sz="2000" dirty="0" err="1"/>
              <a:t>analyze</a:t>
            </a:r>
            <a:r>
              <a:rPr lang="en-GB" sz="2000" dirty="0"/>
              <a:t> large volumes of data, ensuring data integrity and accessibility.</a:t>
            </a:r>
          </a:p>
          <a:p>
            <a:pPr marL="0" indent="0">
              <a:buNone/>
            </a:pPr>
            <a:r>
              <a:rPr lang="en-GB" sz="2000" b="1" dirty="0"/>
              <a:t>Transaction Management: </a:t>
            </a:r>
            <a:r>
              <a:rPr lang="en-GB" sz="2000" dirty="0"/>
              <a:t>Ensuring data integrity through ACID (Atomicity, Consistency, Isolation, Durability) properties in transaction management.</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384C9AE5-6C0A-4CA5-FA07-39487DAC6B3E}"/>
              </a:ext>
            </a:extLst>
          </p:cNvPr>
          <p:cNvPicPr>
            <a:picLocks noChangeAspect="1"/>
          </p:cNvPicPr>
          <p:nvPr/>
        </p:nvPicPr>
        <p:blipFill>
          <a:blip r:embed="rId7"/>
          <a:stretch>
            <a:fillRect/>
          </a:stretch>
        </p:blipFill>
        <p:spPr>
          <a:xfrm>
            <a:off x="6400799" y="2814321"/>
            <a:ext cx="5323029" cy="1765422"/>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1" dirty="0"/>
              <a:t>Challenges Faced in DevOps:</a:t>
            </a:r>
          </a:p>
          <a:p>
            <a:pPr marL="0" indent="0">
              <a:buNone/>
            </a:pPr>
            <a:r>
              <a:rPr lang="en-GB" sz="2000" dirty="0"/>
              <a:t>YML file Integration: Integrating various technologies into a cohesive CI/CD pipeline can be complex. </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B53CD415-8101-4834-F75E-AE2E79BB3D41}"/>
              </a:ext>
            </a:extLst>
          </p:cNvPr>
          <p:cNvPicPr>
            <a:picLocks noChangeAspect="1"/>
          </p:cNvPicPr>
          <p:nvPr/>
        </p:nvPicPr>
        <p:blipFill>
          <a:blip r:embed="rId7"/>
          <a:stretch>
            <a:fillRect/>
          </a:stretch>
        </p:blipFill>
        <p:spPr>
          <a:xfrm>
            <a:off x="6400799" y="2343955"/>
            <a:ext cx="5318056" cy="3110316"/>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dirty="0"/>
              <a:t>Challenges face in Cloud:</a:t>
            </a:r>
          </a:p>
          <a:p>
            <a:pPr marL="0" indent="0">
              <a:buNone/>
            </a:pPr>
            <a:r>
              <a:rPr lang="en-US" sz="2000" dirty="0"/>
              <a:t>Creation of Virtual Machine came with a lot of difficulty and issu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71FBEC2C-840C-A71A-87AB-825B5E05BB50}"/>
              </a:ext>
            </a:extLst>
          </p:cNvPr>
          <p:cNvPicPr>
            <a:picLocks noChangeAspect="1"/>
          </p:cNvPicPr>
          <p:nvPr/>
        </p:nvPicPr>
        <p:blipFill>
          <a:blip r:embed="rId7"/>
          <a:stretch>
            <a:fillRect/>
          </a:stretch>
        </p:blipFill>
        <p:spPr>
          <a:xfrm>
            <a:off x="6400798" y="2916015"/>
            <a:ext cx="5323029" cy="1930485"/>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dirty="0"/>
              <a:t>Challenges faced in DBMS:</a:t>
            </a:r>
          </a:p>
          <a:p>
            <a:pPr marL="0" indent="0">
              <a:buNone/>
            </a:pPr>
            <a:r>
              <a:rPr lang="en-GB" sz="2000" dirty="0"/>
              <a:t>Complex Queries: Writing and optimizing complex SQL queries to handle large dataset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028" name="Picture 4" descr="What is Tuple in DBMS? Types, Examples &amp; How to Work">
            <a:extLst>
              <a:ext uri="{FF2B5EF4-FFF2-40B4-BE49-F238E27FC236}">
                <a16:creationId xmlns:a16="http://schemas.microsoft.com/office/drawing/2014/main" id="{BABFFD62-65D5-9746-5164-98A25297437B}"/>
              </a:ext>
            </a:extLst>
          </p:cNvPr>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l="40703"/>
          <a:stretch/>
        </p:blipFill>
        <p:spPr bwMode="auto">
          <a:xfrm>
            <a:off x="6959600" y="1993853"/>
            <a:ext cx="4267200" cy="37660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Will use the knowledge gained from here in my work and get proficient in it.</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2 weeks around</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Will get more proficient and comfortable with these technologies</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Doing group activities such as making user stories, epic, bugs, test cases together helped me understand the concept more easily and made the learning fun as well</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674232FC-5847-1B72-DC58-FBE112E8D79A}"/>
              </a:ext>
            </a:extLst>
          </p:cNvPr>
          <p:cNvPicPr>
            <a:picLocks noChangeAspect="1"/>
          </p:cNvPicPr>
          <p:nvPr/>
        </p:nvPicPr>
        <p:blipFill>
          <a:blip r:embed="rId7"/>
          <a:stretch>
            <a:fillRect/>
          </a:stretch>
        </p:blipFill>
        <p:spPr>
          <a:xfrm>
            <a:off x="6496036" y="2326014"/>
            <a:ext cx="5160233" cy="3351848"/>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Learnt many new technologies and tools used in IT such as azure which included Virtual Machine creation in different available zones, azure DevOps which involved creation of epic, user story, tasks, test cases, bugs. Also included DBMS which introduced me to various queries and schematic relations. </a:t>
            </a:r>
          </a:p>
          <a:p>
            <a:pPr>
              <a:lnSpc>
                <a:spcPct val="100000"/>
              </a:lnSpc>
            </a:pPr>
            <a:endParaRPr lang="en-US" sz="2000" dirty="0"/>
          </a:p>
          <a:p>
            <a:pPr>
              <a:lnSpc>
                <a:spcPct val="100000"/>
              </a:lnSpc>
            </a:pPr>
            <a:endParaRPr lang="en-US" sz="1800" dirty="0"/>
          </a:p>
          <a:p>
            <a:pPr marL="0" indent="0">
              <a:lnSpc>
                <a:spcPct val="100000"/>
              </a:lnSpc>
              <a:buNone/>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dirty="0"/>
              <a:t>3L’s ( Live life, Learn Lessons and Liberate yourself ) </a:t>
            </a: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ED8A29EA-3D79-8B6F-30DD-99F2853A54C6}"/>
              </a:ext>
            </a:extLst>
          </p:cNvPr>
          <p:cNvPicPr>
            <a:picLocks noChangeAspect="1"/>
          </p:cNvPicPr>
          <p:nvPr/>
        </p:nvPicPr>
        <p:blipFill>
          <a:blip r:embed="rId5"/>
          <a:stretch>
            <a:fillRect/>
          </a:stretch>
        </p:blipFill>
        <p:spPr>
          <a:xfrm>
            <a:off x="6798749" y="2379517"/>
            <a:ext cx="4540881" cy="2933628"/>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400" b="1" dirty="0"/>
              <a:t>DevOps</a:t>
            </a:r>
          </a:p>
          <a:p>
            <a:pPr marL="0" indent="0">
              <a:buFont typeface="Arial" panose="020B0604020202020204" pitchFamily="34" charset="0"/>
              <a:buNone/>
            </a:pPr>
            <a:r>
              <a:rPr lang="en-GB" sz="1800" dirty="0"/>
              <a:t>The week started with the knowledge of </a:t>
            </a:r>
            <a:r>
              <a:rPr lang="en-GB" sz="1800" dirty="0" err="1"/>
              <a:t>devops</a:t>
            </a:r>
            <a:r>
              <a:rPr lang="en-GB" sz="1800" dirty="0"/>
              <a:t>. We came to know what </a:t>
            </a:r>
            <a:r>
              <a:rPr lang="en-GB" sz="1800" dirty="0" err="1"/>
              <a:t>devops</a:t>
            </a:r>
            <a:r>
              <a:rPr lang="en-GB" sz="1800" dirty="0"/>
              <a:t> is and how it helps in efficient development process.</a:t>
            </a:r>
          </a:p>
          <a:p>
            <a:pPr marL="0" indent="0">
              <a:buFont typeface="Arial" panose="020B0604020202020204" pitchFamily="34" charset="0"/>
              <a:buNone/>
            </a:pPr>
            <a:r>
              <a:rPr lang="en-GB" sz="1800" dirty="0"/>
              <a:t>I learned how to create user stories, epics, test cases and log bugs in Azure DevOps portal. </a:t>
            </a:r>
          </a:p>
          <a:p>
            <a:pPr marL="0" indent="0">
              <a:buFont typeface="Arial" panose="020B0604020202020204" pitchFamily="34" charset="0"/>
              <a:buNone/>
            </a:pPr>
            <a:r>
              <a:rPr lang="en-GB" sz="1800" dirty="0"/>
              <a:t>Automating workflows using </a:t>
            </a:r>
            <a:r>
              <a:rPr lang="en-GB" sz="1800" dirty="0" err="1"/>
              <a:t>Github</a:t>
            </a:r>
            <a:r>
              <a:rPr lang="en-GB" sz="1800" dirty="0"/>
              <a:t> actions and deploying the project using </a:t>
            </a:r>
            <a:r>
              <a:rPr lang="en-GB" sz="1800" dirty="0" err="1"/>
              <a:t>Github</a:t>
            </a:r>
            <a:r>
              <a:rPr lang="en-GB" sz="1800" dirty="0"/>
              <a:t> pages was an integral learning for m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D5F48E75-67A6-F9ED-B956-8202660AC946}"/>
              </a:ext>
            </a:extLst>
          </p:cNvPr>
          <p:cNvPicPr>
            <a:picLocks noChangeAspect="1"/>
          </p:cNvPicPr>
          <p:nvPr/>
        </p:nvPicPr>
        <p:blipFill>
          <a:blip r:embed="rId7"/>
          <a:stretch>
            <a:fillRect/>
          </a:stretch>
        </p:blipFill>
        <p:spPr>
          <a:xfrm>
            <a:off x="7132291" y="1941742"/>
            <a:ext cx="3887721" cy="3805586"/>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400" b="1" dirty="0"/>
              <a:t>Azure Cloud</a:t>
            </a:r>
          </a:p>
          <a:p>
            <a:pPr marL="0" indent="0">
              <a:buFont typeface="Arial" panose="020B0604020202020204" pitchFamily="34" charset="0"/>
              <a:buNone/>
            </a:pPr>
            <a:r>
              <a:rPr lang="en-US" sz="1800" dirty="0"/>
              <a:t>I learned about virtual machines and networks and how azure apps can be used to distribute tasks in a large organization.</a:t>
            </a:r>
          </a:p>
          <a:p>
            <a:pPr marL="0" indent="0">
              <a:buFont typeface="Arial" panose="020B0604020202020204" pitchFamily="34" charset="0"/>
              <a:buNone/>
            </a:pPr>
            <a:r>
              <a:rPr lang="en-US" sz="1800" dirty="0"/>
              <a:t>I learned how they are useful in a business as hardware resources can easily be rented from providers instead of being bought </a:t>
            </a:r>
            <a:r>
              <a:rPr lang="en-US" sz="1800" dirty="0" err="1"/>
              <a:t>dircty</a:t>
            </a:r>
            <a:r>
              <a:rPr lang="en-US" sz="1800" dirty="0"/>
              <a:t> which can be expensive.</a:t>
            </a:r>
          </a:p>
          <a:p>
            <a:pPr marL="0" indent="0">
              <a:buFont typeface="Arial" panose="020B0604020202020204" pitchFamily="34" charset="0"/>
              <a:buNone/>
            </a:pPr>
            <a:r>
              <a:rPr lang="en-US" sz="1800" dirty="0"/>
              <a:t>Due to expense and bulkiness of server machines, it is beneficial to link up with service providers to meet the growing IT needs of energy industri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A60F2CF6-58AF-1630-5310-C222C304572C}"/>
              </a:ext>
            </a:extLst>
          </p:cNvPr>
          <p:cNvPicPr>
            <a:picLocks noChangeAspect="1"/>
          </p:cNvPicPr>
          <p:nvPr/>
        </p:nvPicPr>
        <p:blipFill>
          <a:blip r:embed="rId7"/>
          <a:stretch>
            <a:fillRect/>
          </a:stretch>
        </p:blipFill>
        <p:spPr>
          <a:xfrm>
            <a:off x="7094147" y="2473077"/>
            <a:ext cx="3964009" cy="2694429"/>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0495" y="1860992"/>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400" b="1" dirty="0"/>
              <a:t>DBMS</a:t>
            </a:r>
          </a:p>
          <a:p>
            <a:pPr marL="0" indent="0">
              <a:buFont typeface="Arial" panose="020B0604020202020204" pitchFamily="34" charset="0"/>
              <a:buNone/>
            </a:pPr>
            <a:r>
              <a:rPr lang="en-US" sz="2000" dirty="0"/>
              <a:t>DDL(Data Definition Language), DQL(Data Query Language), DML(Data Modification Language), and Transactions.</a:t>
            </a:r>
          </a:p>
          <a:p>
            <a:pPr marL="0" indent="0">
              <a:buFont typeface="Arial" panose="020B0604020202020204" pitchFamily="34" charset="0"/>
              <a:buNone/>
            </a:pPr>
            <a:r>
              <a:rPr lang="en-US" sz="2000" b="1" dirty="0"/>
              <a:t>Data Integrity</a:t>
            </a:r>
            <a:r>
              <a:rPr lang="en-US" sz="2000" dirty="0"/>
              <a:t>: Ensuring data accuracy and consistency through transactions.</a:t>
            </a:r>
          </a:p>
          <a:p>
            <a:pPr marL="0" indent="0">
              <a:buFont typeface="Arial" panose="020B0604020202020204" pitchFamily="34" charset="0"/>
              <a:buNone/>
            </a:pPr>
            <a:r>
              <a:rPr lang="en-US" sz="2000" b="1" dirty="0"/>
              <a:t>Efficiency</a:t>
            </a:r>
            <a:r>
              <a:rPr lang="en-US" sz="2000" dirty="0"/>
              <a:t>: Efficient data manipulation and querying using DML and DQL.</a:t>
            </a:r>
          </a:p>
          <a:p>
            <a:pPr marL="0" indent="0">
              <a:buFont typeface="Arial" panose="020B0604020202020204" pitchFamily="34" charset="0"/>
              <a:buNone/>
            </a:pPr>
            <a:r>
              <a:rPr lang="en-US" sz="2000" b="1" dirty="0"/>
              <a:t>Structure</a:t>
            </a:r>
            <a:r>
              <a:rPr lang="en-US" sz="2000" dirty="0"/>
              <a:t>: Proper database structure and schema design using DDL. </a:t>
            </a:r>
          </a:p>
          <a:p>
            <a:pPr marL="0" indent="0">
              <a:buFont typeface="Arial" panose="020B0604020202020204" pitchFamily="34" charset="0"/>
              <a:buNone/>
            </a:pPr>
            <a:endParaRPr lang="en-US" sz="2400" b="1"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sp>
        <p:nvSpPr>
          <p:cNvPr id="19" name="Rectangle 11">
            <a:extLst>
              <a:ext uri="{FF2B5EF4-FFF2-40B4-BE49-F238E27FC236}">
                <a16:creationId xmlns:a16="http://schemas.microsoft.com/office/drawing/2014/main" id="{781FE3F3-BA09-E730-0CA2-AE6EA2F9510F}"/>
              </a:ext>
            </a:extLst>
          </p:cNvPr>
          <p:cNvSpPr>
            <a:spLocks noChangeArrowheads="1"/>
          </p:cNvSpPr>
          <p:nvPr/>
        </p:nvSpPr>
        <p:spPr bwMode="auto">
          <a:xfrm>
            <a:off x="0" y="-138499"/>
            <a:ext cx="25705" cy="276999"/>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696" tIns="0" rIns="12696"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6" name="Picture 5">
            <a:extLst>
              <a:ext uri="{FF2B5EF4-FFF2-40B4-BE49-F238E27FC236}">
                <a16:creationId xmlns:a16="http://schemas.microsoft.com/office/drawing/2014/main" id="{9F9AC78A-2EC5-5A76-7CDF-03B3BFA02D10}"/>
              </a:ext>
            </a:extLst>
          </p:cNvPr>
          <p:cNvPicPr>
            <a:picLocks noChangeAspect="1"/>
          </p:cNvPicPr>
          <p:nvPr/>
        </p:nvPicPr>
        <p:blipFill>
          <a:blip r:embed="rId7"/>
          <a:stretch>
            <a:fillRect/>
          </a:stretch>
        </p:blipFill>
        <p:spPr>
          <a:xfrm>
            <a:off x="6936178" y="2573601"/>
            <a:ext cx="4441957" cy="2566290"/>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1" dirty="0"/>
              <a:t>DevOps</a:t>
            </a:r>
          </a:p>
          <a:p>
            <a:pPr marL="0" indent="0">
              <a:buNone/>
            </a:pPr>
            <a:r>
              <a:rPr lang="en-GB" sz="2000" b="1" dirty="0"/>
              <a:t>Agile and DevOps Integration: </a:t>
            </a:r>
            <a:r>
              <a:rPr lang="en-GB" sz="2000" dirty="0"/>
              <a:t>Shell has integrated agile methodologies with DevOps practices.</a:t>
            </a:r>
          </a:p>
          <a:p>
            <a:pPr marL="0" indent="0">
              <a:buNone/>
            </a:pPr>
            <a:r>
              <a:rPr lang="en-GB" sz="2000" b="1" dirty="0"/>
              <a:t>Automation: </a:t>
            </a:r>
            <a:r>
              <a:rPr lang="en-GB" sz="2000" dirty="0"/>
              <a:t>Shell uses automation extensively to streamline their CI/CD pipelines, ensuring faster and more reliable software delivery.</a:t>
            </a:r>
          </a:p>
          <a:p>
            <a:pPr marL="0" indent="0">
              <a:buNone/>
            </a:pPr>
            <a:r>
              <a:rPr lang="en-GB" sz="2000" b="1" dirty="0"/>
              <a:t>Collaboration</a:t>
            </a:r>
            <a:r>
              <a:rPr lang="en-GB" sz="2000" dirty="0"/>
              <a:t>: Enhanced collaboration between development and operations teams is a cornerstone of Shell’s DevOps strategy, fostering a culture of continuous improvement and innovation.</a:t>
            </a: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ACE22A1B-A918-6EB0-7DBB-9490E7028506}"/>
              </a:ext>
            </a:extLst>
          </p:cNvPr>
          <p:cNvPicPr>
            <a:picLocks noChangeAspect="1"/>
          </p:cNvPicPr>
          <p:nvPr/>
        </p:nvPicPr>
        <p:blipFill>
          <a:blip r:embed="rId7"/>
          <a:stretch>
            <a:fillRect/>
          </a:stretch>
        </p:blipFill>
        <p:spPr>
          <a:xfrm>
            <a:off x="6507120" y="2458721"/>
            <a:ext cx="5138063" cy="2732022"/>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1" dirty="0"/>
              <a:t>Cloud</a:t>
            </a:r>
            <a:endParaRPr lang="en-GB" sz="2000" b="1" dirty="0"/>
          </a:p>
          <a:p>
            <a:pPr marL="0" indent="0">
              <a:buNone/>
            </a:pPr>
            <a:r>
              <a:rPr lang="en-GB" sz="2000" b="1" dirty="0"/>
              <a:t>Cloud Migration: </a:t>
            </a:r>
            <a:r>
              <a:rPr lang="en-GB" sz="2000" dirty="0"/>
              <a:t>Shell has migrated its subsurface data and workflows to cloud-based platforms to boost collaboration and innovation2.</a:t>
            </a:r>
          </a:p>
          <a:p>
            <a:pPr marL="0" indent="0">
              <a:buNone/>
            </a:pPr>
            <a:r>
              <a:rPr lang="en-GB" sz="2000" b="1" dirty="0"/>
              <a:t>Hybrid Cloud: </a:t>
            </a:r>
            <a:r>
              <a:rPr lang="en-GB" sz="2000" dirty="0"/>
              <a:t>Shell utilizes a hybrid cloud approach, combining public and private cloud resources to optimize performance and cost-efficiency.</a:t>
            </a:r>
          </a:p>
          <a:p>
            <a:pPr marL="0" indent="0">
              <a:buNone/>
            </a:pPr>
            <a:r>
              <a:rPr lang="en-GB" sz="2000" b="1" dirty="0"/>
              <a:t>Data Integration: </a:t>
            </a:r>
            <a:r>
              <a:rPr lang="en-GB" sz="2000" dirty="0"/>
              <a:t>The migration to cloud-based platforms has enabled Shell to integrate data across various disciplines, improving efficiency and decision-mak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E8F28411-1438-A172-1F95-4B56D8ECB944}"/>
              </a:ext>
            </a:extLst>
          </p:cNvPr>
          <p:cNvPicPr>
            <a:picLocks noChangeAspect="1"/>
          </p:cNvPicPr>
          <p:nvPr/>
        </p:nvPicPr>
        <p:blipFill>
          <a:blip r:embed="rId7"/>
          <a:stretch>
            <a:fillRect/>
          </a:stretch>
        </p:blipFill>
        <p:spPr>
          <a:xfrm>
            <a:off x="6449536" y="2836822"/>
            <a:ext cx="5300270" cy="2124581"/>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www.w3.org/XML/1998/namespace"/>
    <ds:schemaRef ds:uri="http://schemas.microsoft.com/office/infopath/2007/PartnerControls"/>
    <ds:schemaRef ds:uri="http://schemas.openxmlformats.org/package/2006/metadata/core-properties"/>
    <ds:schemaRef ds:uri="http://purl.org/dc/terms/"/>
    <ds:schemaRef ds:uri="http://schemas.microsoft.com/office/2006/documentManagement/types"/>
    <ds:schemaRef ds:uri="489eda54-cdc8-4a48-94a2-8f9cf8024289"/>
    <ds:schemaRef ds:uri="d64320fb-f9a3-4131-8206-9d18da17abe9"/>
    <ds:schemaRef ds:uri="http://schemas.microsoft.com/office/2006/metadata/properties"/>
    <ds:schemaRef ds:uri="http://purl.org/dc/dcmitype/"/>
    <ds:schemaRef ds:uri="http://purl.org/dc/elements/1.1/"/>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929</TotalTime>
  <Words>732</Words>
  <Application>Microsoft Office PowerPoint</Application>
  <PresentationFormat>Widescreen</PresentationFormat>
  <Paragraphs>78</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inghal, Isha SBOBNG-PTIY/TCBC</cp:lastModifiedBy>
  <cp:revision>503</cp:revision>
  <dcterms:created xsi:type="dcterms:W3CDTF">2022-01-18T12:35:56Z</dcterms:created>
  <dcterms:modified xsi:type="dcterms:W3CDTF">2024-09-06T17:34: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